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1"/>
  </p:notesMasterIdLst>
  <p:sldIdLst>
    <p:sldId id="302" r:id="rId2"/>
    <p:sldId id="332" r:id="rId3"/>
    <p:sldId id="508" r:id="rId4"/>
    <p:sldId id="509" r:id="rId5"/>
    <p:sldId id="507" r:id="rId6"/>
    <p:sldId id="333" r:id="rId7"/>
    <p:sldId id="272" r:id="rId8"/>
    <p:sldId id="312" r:id="rId9"/>
    <p:sldId id="505" r:id="rId10"/>
    <p:sldId id="299" r:id="rId11"/>
    <p:sldId id="275" r:id="rId12"/>
    <p:sldId id="322" r:id="rId13"/>
    <p:sldId id="321" r:id="rId14"/>
    <p:sldId id="323" r:id="rId15"/>
    <p:sldId id="325" r:id="rId16"/>
    <p:sldId id="287" r:id="rId17"/>
    <p:sldId id="288" r:id="rId18"/>
    <p:sldId id="327" r:id="rId19"/>
    <p:sldId id="328" r:id="rId20"/>
    <p:sldId id="295" r:id="rId21"/>
    <p:sldId id="296" r:id="rId22"/>
    <p:sldId id="276" r:id="rId23"/>
    <p:sldId id="292" r:id="rId24"/>
    <p:sldId id="308" r:id="rId25"/>
    <p:sldId id="318" r:id="rId26"/>
    <p:sldId id="281" r:id="rId27"/>
    <p:sldId id="300" r:id="rId28"/>
    <p:sldId id="301" r:id="rId29"/>
    <p:sldId id="338" r:id="rId30"/>
    <p:sldId id="334" r:id="rId31"/>
    <p:sldId id="335" r:id="rId32"/>
    <p:sldId id="336" r:id="rId33"/>
    <p:sldId id="337" r:id="rId34"/>
    <p:sldId id="500" r:id="rId35"/>
    <p:sldId id="501" r:id="rId36"/>
    <p:sldId id="506" r:id="rId37"/>
    <p:sldId id="503" r:id="rId38"/>
    <p:sldId id="502" r:id="rId39"/>
    <p:sldId id="504" r:id="rId40"/>
  </p:sldIdLst>
  <p:sldSz cx="12192000" cy="6858000"/>
  <p:notesSz cx="7086600" cy="9372600"/>
  <p:custDataLst>
    <p:tags r:id="rId4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A7BDE9"/>
    <a:srgbClr val="2850A0"/>
    <a:srgbClr val="535353"/>
    <a:srgbClr val="A6A6A6"/>
    <a:srgbClr val="7F9FDF"/>
    <a:srgbClr val="00339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598" autoAdjust="0"/>
    <p:restoredTop sz="93073" autoAdjust="0"/>
  </p:normalViewPr>
  <p:slideViewPr>
    <p:cSldViewPr showGuides="1">
      <p:cViewPr>
        <p:scale>
          <a:sx n="150" d="100"/>
          <a:sy n="150" d="100"/>
        </p:scale>
        <p:origin x="672" y="112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Trapezoid 2">
            <a:extLst>
              <a:ext uri="{FF2B5EF4-FFF2-40B4-BE49-F238E27FC236}">
                <a16:creationId xmlns:a16="http://schemas.microsoft.com/office/drawing/2014/main" id="{23639ED0-9321-ED44-91BA-C4B277B003AA}"/>
              </a:ext>
            </a:extLst>
          </p:cNvPr>
          <p:cNvSpPr/>
          <p:nvPr/>
        </p:nvSpPr>
        <p:spPr>
          <a:xfrm rot="10800000">
            <a:off x="5339409" y="4918630"/>
            <a:ext cx="1892784" cy="1318365"/>
          </a:xfrm>
          <a:custGeom>
            <a:avLst/>
            <a:gdLst>
              <a:gd name="connsiteX0" fmla="*/ 0 w 2444683"/>
              <a:gd name="connsiteY0" fmla="*/ 1368000 h 1368000"/>
              <a:gd name="connsiteX1" fmla="*/ 342000 w 2444683"/>
              <a:gd name="connsiteY1" fmla="*/ 0 h 1368000"/>
              <a:gd name="connsiteX2" fmla="*/ 2102683 w 2444683"/>
              <a:gd name="connsiteY2" fmla="*/ 0 h 1368000"/>
              <a:gd name="connsiteX3" fmla="*/ 2444683 w 2444683"/>
              <a:gd name="connsiteY3" fmla="*/ 1368000 h 1368000"/>
              <a:gd name="connsiteX4" fmla="*/ 0 w 2444683"/>
              <a:gd name="connsiteY4" fmla="*/ 1368000 h 1368000"/>
              <a:gd name="connsiteX0" fmla="*/ 0 w 2113942"/>
              <a:gd name="connsiteY0" fmla="*/ 1368000 h 1368000"/>
              <a:gd name="connsiteX1" fmla="*/ 342000 w 2113942"/>
              <a:gd name="connsiteY1" fmla="*/ 0 h 1368000"/>
              <a:gd name="connsiteX2" fmla="*/ 2102683 w 2113942"/>
              <a:gd name="connsiteY2" fmla="*/ 0 h 1368000"/>
              <a:gd name="connsiteX3" fmla="*/ 2113942 w 2113942"/>
              <a:gd name="connsiteY3" fmla="*/ 1342059 h 1368000"/>
              <a:gd name="connsiteX4" fmla="*/ 0 w 2113942"/>
              <a:gd name="connsiteY4" fmla="*/ 1368000 h 1368000"/>
              <a:gd name="connsiteX0" fmla="*/ 280570 w 1771942"/>
              <a:gd name="connsiteY0" fmla="*/ 1380970 h 1380970"/>
              <a:gd name="connsiteX1" fmla="*/ 0 w 1771942"/>
              <a:gd name="connsiteY1" fmla="*/ 0 h 1380970"/>
              <a:gd name="connsiteX2" fmla="*/ 1760683 w 1771942"/>
              <a:gd name="connsiteY2" fmla="*/ 0 h 1380970"/>
              <a:gd name="connsiteX3" fmla="*/ 1771942 w 1771942"/>
              <a:gd name="connsiteY3" fmla="*/ 1342059 h 1380970"/>
              <a:gd name="connsiteX4" fmla="*/ 280570 w 1771942"/>
              <a:gd name="connsiteY4" fmla="*/ 1380970 h 1380970"/>
              <a:gd name="connsiteX0" fmla="*/ 630766 w 2122138"/>
              <a:gd name="connsiteY0" fmla="*/ 1380970 h 1380970"/>
              <a:gd name="connsiteX1" fmla="*/ 0 w 2122138"/>
              <a:gd name="connsiteY1" fmla="*/ 84307 h 1380970"/>
              <a:gd name="connsiteX2" fmla="*/ 2110879 w 2122138"/>
              <a:gd name="connsiteY2" fmla="*/ 0 h 1380970"/>
              <a:gd name="connsiteX3" fmla="*/ 2122138 w 2122138"/>
              <a:gd name="connsiteY3" fmla="*/ 1342059 h 1380970"/>
              <a:gd name="connsiteX4" fmla="*/ 630766 w 2122138"/>
              <a:gd name="connsiteY4" fmla="*/ 1380970 h 1380970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24280 w 2474044"/>
              <a:gd name="connsiteY0" fmla="*/ 1303149 h 1303149"/>
              <a:gd name="connsiteX1" fmla="*/ 0 w 2474044"/>
              <a:gd name="connsiteY1" fmla="*/ 90792 h 1303149"/>
              <a:gd name="connsiteX2" fmla="*/ 2474044 w 2474044"/>
              <a:gd name="connsiteY2" fmla="*/ 0 h 1303149"/>
              <a:gd name="connsiteX3" fmla="*/ 2115652 w 2474044"/>
              <a:gd name="connsiteY3" fmla="*/ 1264238 h 1303149"/>
              <a:gd name="connsiteX4" fmla="*/ 624280 w 2474044"/>
              <a:gd name="connsiteY4" fmla="*/ 1303149 h 1303149"/>
              <a:gd name="connsiteX0" fmla="*/ 624280 w 2474044"/>
              <a:gd name="connsiteY0" fmla="*/ 1212357 h 1212357"/>
              <a:gd name="connsiteX1" fmla="*/ 0 w 2474044"/>
              <a:gd name="connsiteY1" fmla="*/ 0 h 1212357"/>
              <a:gd name="connsiteX2" fmla="*/ 2474044 w 2474044"/>
              <a:gd name="connsiteY2" fmla="*/ 12970 h 1212357"/>
              <a:gd name="connsiteX3" fmla="*/ 2115652 w 2474044"/>
              <a:gd name="connsiteY3" fmla="*/ 1173446 h 1212357"/>
              <a:gd name="connsiteX4" fmla="*/ 624280 w 2474044"/>
              <a:gd name="connsiteY4" fmla="*/ 1212357 h 1212357"/>
              <a:gd name="connsiteX0" fmla="*/ 624280 w 2474044"/>
              <a:gd name="connsiteY0" fmla="*/ 1212357 h 1244782"/>
              <a:gd name="connsiteX1" fmla="*/ 0 w 2474044"/>
              <a:gd name="connsiteY1" fmla="*/ 0 h 1244782"/>
              <a:gd name="connsiteX2" fmla="*/ 2474044 w 2474044"/>
              <a:gd name="connsiteY2" fmla="*/ 12970 h 1244782"/>
              <a:gd name="connsiteX3" fmla="*/ 2102682 w 2474044"/>
              <a:gd name="connsiteY3" fmla="*/ 1244782 h 1244782"/>
              <a:gd name="connsiteX4" fmla="*/ 624280 w 2474044"/>
              <a:gd name="connsiteY4" fmla="*/ 1212357 h 124478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266520"/>
              <a:gd name="connsiteY0" fmla="*/ 1212357 h 1231812"/>
              <a:gd name="connsiteX1" fmla="*/ 0 w 2266520"/>
              <a:gd name="connsiteY1" fmla="*/ 0 h 1231812"/>
              <a:gd name="connsiteX2" fmla="*/ 2266520 w 2266520"/>
              <a:gd name="connsiteY2" fmla="*/ 19455 h 1231812"/>
              <a:gd name="connsiteX3" fmla="*/ 2050801 w 2266520"/>
              <a:gd name="connsiteY3" fmla="*/ 1231812 h 1231812"/>
              <a:gd name="connsiteX4" fmla="*/ 624280 w 2266520"/>
              <a:gd name="connsiteY4" fmla="*/ 1212357 h 1231812"/>
              <a:gd name="connsiteX0" fmla="*/ 624280 w 2266520"/>
              <a:gd name="connsiteY0" fmla="*/ 1212357 h 1238297"/>
              <a:gd name="connsiteX1" fmla="*/ 0 w 2266520"/>
              <a:gd name="connsiteY1" fmla="*/ 0 h 1238297"/>
              <a:gd name="connsiteX2" fmla="*/ 2266520 w 2266520"/>
              <a:gd name="connsiteY2" fmla="*/ 19455 h 1238297"/>
              <a:gd name="connsiteX3" fmla="*/ 1914614 w 2266520"/>
              <a:gd name="connsiteY3" fmla="*/ 1238297 h 1238297"/>
              <a:gd name="connsiteX4" fmla="*/ 624280 w 2266520"/>
              <a:gd name="connsiteY4" fmla="*/ 1212357 h 1238297"/>
              <a:gd name="connsiteX0" fmla="*/ 624280 w 2389737"/>
              <a:gd name="connsiteY0" fmla="*/ 1212357 h 1238297"/>
              <a:gd name="connsiteX1" fmla="*/ 0 w 2389737"/>
              <a:gd name="connsiteY1" fmla="*/ 0 h 1238297"/>
              <a:gd name="connsiteX2" fmla="*/ 2389737 w 2389737"/>
              <a:gd name="connsiteY2" fmla="*/ 25940 h 1238297"/>
              <a:gd name="connsiteX3" fmla="*/ 1914614 w 2389737"/>
              <a:gd name="connsiteY3" fmla="*/ 1238297 h 1238297"/>
              <a:gd name="connsiteX4" fmla="*/ 624280 w 2389737"/>
              <a:gd name="connsiteY4" fmla="*/ 1212357 h 1238297"/>
              <a:gd name="connsiteX0" fmla="*/ 501283 w 2266740"/>
              <a:gd name="connsiteY0" fmla="*/ 1186417 h 1212357"/>
              <a:gd name="connsiteX1" fmla="*/ 0 w 2266740"/>
              <a:gd name="connsiteY1" fmla="*/ 12971 h 1212357"/>
              <a:gd name="connsiteX2" fmla="*/ 2266740 w 2266740"/>
              <a:gd name="connsiteY2" fmla="*/ 0 h 1212357"/>
              <a:gd name="connsiteX3" fmla="*/ 1791617 w 2266740"/>
              <a:gd name="connsiteY3" fmla="*/ 1212357 h 1212357"/>
              <a:gd name="connsiteX4" fmla="*/ 501283 w 2266740"/>
              <a:gd name="connsiteY4" fmla="*/ 1186417 h 1212357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43679"/>
              <a:gd name="connsiteY0" fmla="*/ 1173446 h 1199386"/>
              <a:gd name="connsiteX1" fmla="*/ 0 w 2243679"/>
              <a:gd name="connsiteY1" fmla="*/ 0 h 1199386"/>
              <a:gd name="connsiteX2" fmla="*/ 2243679 w 2243679"/>
              <a:gd name="connsiteY2" fmla="*/ 6484 h 1199386"/>
              <a:gd name="connsiteX3" fmla="*/ 1791617 w 2243679"/>
              <a:gd name="connsiteY3" fmla="*/ 1199386 h 1199386"/>
              <a:gd name="connsiteX4" fmla="*/ 501283 w 2243679"/>
              <a:gd name="connsiteY4" fmla="*/ 1173446 h 11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679" h="1199386">
                <a:moveTo>
                  <a:pt x="501283" y="1173446"/>
                </a:moveTo>
                <a:lnTo>
                  <a:pt x="0" y="0"/>
                </a:lnTo>
                <a:lnTo>
                  <a:pt x="2243679" y="6484"/>
                </a:lnTo>
                <a:cubicBezTo>
                  <a:pt x="1787903" y="1160715"/>
                  <a:pt x="1924051" y="784459"/>
                  <a:pt x="1791617" y="1199386"/>
                </a:cubicBezTo>
                <a:lnTo>
                  <a:pt x="501283" y="1173446"/>
                </a:lnTo>
                <a:close/>
              </a:path>
            </a:pathLst>
          </a:custGeom>
          <a:solidFill>
            <a:schemeClr val="bg1">
              <a:lumMod val="85000"/>
              <a:alpha val="24095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apezoid 2">
            <a:extLst>
              <a:ext uri="{FF2B5EF4-FFF2-40B4-BE49-F238E27FC236}">
                <a16:creationId xmlns:a16="http://schemas.microsoft.com/office/drawing/2014/main" id="{5AEE8AFC-C2DD-8049-8573-B92A9BD769F9}"/>
              </a:ext>
            </a:extLst>
          </p:cNvPr>
          <p:cNvSpPr/>
          <p:nvPr/>
        </p:nvSpPr>
        <p:spPr>
          <a:xfrm>
            <a:off x="5161489" y="1293614"/>
            <a:ext cx="1892784" cy="1199386"/>
          </a:xfrm>
          <a:custGeom>
            <a:avLst/>
            <a:gdLst>
              <a:gd name="connsiteX0" fmla="*/ 0 w 2444683"/>
              <a:gd name="connsiteY0" fmla="*/ 1368000 h 1368000"/>
              <a:gd name="connsiteX1" fmla="*/ 342000 w 2444683"/>
              <a:gd name="connsiteY1" fmla="*/ 0 h 1368000"/>
              <a:gd name="connsiteX2" fmla="*/ 2102683 w 2444683"/>
              <a:gd name="connsiteY2" fmla="*/ 0 h 1368000"/>
              <a:gd name="connsiteX3" fmla="*/ 2444683 w 2444683"/>
              <a:gd name="connsiteY3" fmla="*/ 1368000 h 1368000"/>
              <a:gd name="connsiteX4" fmla="*/ 0 w 2444683"/>
              <a:gd name="connsiteY4" fmla="*/ 1368000 h 1368000"/>
              <a:gd name="connsiteX0" fmla="*/ 0 w 2113942"/>
              <a:gd name="connsiteY0" fmla="*/ 1368000 h 1368000"/>
              <a:gd name="connsiteX1" fmla="*/ 342000 w 2113942"/>
              <a:gd name="connsiteY1" fmla="*/ 0 h 1368000"/>
              <a:gd name="connsiteX2" fmla="*/ 2102683 w 2113942"/>
              <a:gd name="connsiteY2" fmla="*/ 0 h 1368000"/>
              <a:gd name="connsiteX3" fmla="*/ 2113942 w 2113942"/>
              <a:gd name="connsiteY3" fmla="*/ 1342059 h 1368000"/>
              <a:gd name="connsiteX4" fmla="*/ 0 w 2113942"/>
              <a:gd name="connsiteY4" fmla="*/ 1368000 h 1368000"/>
              <a:gd name="connsiteX0" fmla="*/ 280570 w 1771942"/>
              <a:gd name="connsiteY0" fmla="*/ 1380970 h 1380970"/>
              <a:gd name="connsiteX1" fmla="*/ 0 w 1771942"/>
              <a:gd name="connsiteY1" fmla="*/ 0 h 1380970"/>
              <a:gd name="connsiteX2" fmla="*/ 1760683 w 1771942"/>
              <a:gd name="connsiteY2" fmla="*/ 0 h 1380970"/>
              <a:gd name="connsiteX3" fmla="*/ 1771942 w 1771942"/>
              <a:gd name="connsiteY3" fmla="*/ 1342059 h 1380970"/>
              <a:gd name="connsiteX4" fmla="*/ 280570 w 1771942"/>
              <a:gd name="connsiteY4" fmla="*/ 1380970 h 1380970"/>
              <a:gd name="connsiteX0" fmla="*/ 630766 w 2122138"/>
              <a:gd name="connsiteY0" fmla="*/ 1380970 h 1380970"/>
              <a:gd name="connsiteX1" fmla="*/ 0 w 2122138"/>
              <a:gd name="connsiteY1" fmla="*/ 84307 h 1380970"/>
              <a:gd name="connsiteX2" fmla="*/ 2110879 w 2122138"/>
              <a:gd name="connsiteY2" fmla="*/ 0 h 1380970"/>
              <a:gd name="connsiteX3" fmla="*/ 2122138 w 2122138"/>
              <a:gd name="connsiteY3" fmla="*/ 1342059 h 1380970"/>
              <a:gd name="connsiteX4" fmla="*/ 630766 w 2122138"/>
              <a:gd name="connsiteY4" fmla="*/ 1380970 h 1380970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24280 w 2474044"/>
              <a:gd name="connsiteY0" fmla="*/ 1303149 h 1303149"/>
              <a:gd name="connsiteX1" fmla="*/ 0 w 2474044"/>
              <a:gd name="connsiteY1" fmla="*/ 90792 h 1303149"/>
              <a:gd name="connsiteX2" fmla="*/ 2474044 w 2474044"/>
              <a:gd name="connsiteY2" fmla="*/ 0 h 1303149"/>
              <a:gd name="connsiteX3" fmla="*/ 2115652 w 2474044"/>
              <a:gd name="connsiteY3" fmla="*/ 1264238 h 1303149"/>
              <a:gd name="connsiteX4" fmla="*/ 624280 w 2474044"/>
              <a:gd name="connsiteY4" fmla="*/ 1303149 h 1303149"/>
              <a:gd name="connsiteX0" fmla="*/ 624280 w 2474044"/>
              <a:gd name="connsiteY0" fmla="*/ 1212357 h 1212357"/>
              <a:gd name="connsiteX1" fmla="*/ 0 w 2474044"/>
              <a:gd name="connsiteY1" fmla="*/ 0 h 1212357"/>
              <a:gd name="connsiteX2" fmla="*/ 2474044 w 2474044"/>
              <a:gd name="connsiteY2" fmla="*/ 12970 h 1212357"/>
              <a:gd name="connsiteX3" fmla="*/ 2115652 w 2474044"/>
              <a:gd name="connsiteY3" fmla="*/ 1173446 h 1212357"/>
              <a:gd name="connsiteX4" fmla="*/ 624280 w 2474044"/>
              <a:gd name="connsiteY4" fmla="*/ 1212357 h 1212357"/>
              <a:gd name="connsiteX0" fmla="*/ 624280 w 2474044"/>
              <a:gd name="connsiteY0" fmla="*/ 1212357 h 1244782"/>
              <a:gd name="connsiteX1" fmla="*/ 0 w 2474044"/>
              <a:gd name="connsiteY1" fmla="*/ 0 h 1244782"/>
              <a:gd name="connsiteX2" fmla="*/ 2474044 w 2474044"/>
              <a:gd name="connsiteY2" fmla="*/ 12970 h 1244782"/>
              <a:gd name="connsiteX3" fmla="*/ 2102682 w 2474044"/>
              <a:gd name="connsiteY3" fmla="*/ 1244782 h 1244782"/>
              <a:gd name="connsiteX4" fmla="*/ 624280 w 2474044"/>
              <a:gd name="connsiteY4" fmla="*/ 1212357 h 124478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266520"/>
              <a:gd name="connsiteY0" fmla="*/ 1212357 h 1231812"/>
              <a:gd name="connsiteX1" fmla="*/ 0 w 2266520"/>
              <a:gd name="connsiteY1" fmla="*/ 0 h 1231812"/>
              <a:gd name="connsiteX2" fmla="*/ 2266520 w 2266520"/>
              <a:gd name="connsiteY2" fmla="*/ 19455 h 1231812"/>
              <a:gd name="connsiteX3" fmla="*/ 2050801 w 2266520"/>
              <a:gd name="connsiteY3" fmla="*/ 1231812 h 1231812"/>
              <a:gd name="connsiteX4" fmla="*/ 624280 w 2266520"/>
              <a:gd name="connsiteY4" fmla="*/ 1212357 h 1231812"/>
              <a:gd name="connsiteX0" fmla="*/ 624280 w 2266520"/>
              <a:gd name="connsiteY0" fmla="*/ 1212357 h 1238297"/>
              <a:gd name="connsiteX1" fmla="*/ 0 w 2266520"/>
              <a:gd name="connsiteY1" fmla="*/ 0 h 1238297"/>
              <a:gd name="connsiteX2" fmla="*/ 2266520 w 2266520"/>
              <a:gd name="connsiteY2" fmla="*/ 19455 h 1238297"/>
              <a:gd name="connsiteX3" fmla="*/ 1914614 w 2266520"/>
              <a:gd name="connsiteY3" fmla="*/ 1238297 h 1238297"/>
              <a:gd name="connsiteX4" fmla="*/ 624280 w 2266520"/>
              <a:gd name="connsiteY4" fmla="*/ 1212357 h 1238297"/>
              <a:gd name="connsiteX0" fmla="*/ 624280 w 2389737"/>
              <a:gd name="connsiteY0" fmla="*/ 1212357 h 1238297"/>
              <a:gd name="connsiteX1" fmla="*/ 0 w 2389737"/>
              <a:gd name="connsiteY1" fmla="*/ 0 h 1238297"/>
              <a:gd name="connsiteX2" fmla="*/ 2389737 w 2389737"/>
              <a:gd name="connsiteY2" fmla="*/ 25940 h 1238297"/>
              <a:gd name="connsiteX3" fmla="*/ 1914614 w 2389737"/>
              <a:gd name="connsiteY3" fmla="*/ 1238297 h 1238297"/>
              <a:gd name="connsiteX4" fmla="*/ 624280 w 2389737"/>
              <a:gd name="connsiteY4" fmla="*/ 1212357 h 1238297"/>
              <a:gd name="connsiteX0" fmla="*/ 501283 w 2266740"/>
              <a:gd name="connsiteY0" fmla="*/ 1186417 h 1212357"/>
              <a:gd name="connsiteX1" fmla="*/ 0 w 2266740"/>
              <a:gd name="connsiteY1" fmla="*/ 12971 h 1212357"/>
              <a:gd name="connsiteX2" fmla="*/ 2266740 w 2266740"/>
              <a:gd name="connsiteY2" fmla="*/ 0 h 1212357"/>
              <a:gd name="connsiteX3" fmla="*/ 1791617 w 2266740"/>
              <a:gd name="connsiteY3" fmla="*/ 1212357 h 1212357"/>
              <a:gd name="connsiteX4" fmla="*/ 501283 w 2266740"/>
              <a:gd name="connsiteY4" fmla="*/ 1186417 h 1212357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43679"/>
              <a:gd name="connsiteY0" fmla="*/ 1173446 h 1199386"/>
              <a:gd name="connsiteX1" fmla="*/ 0 w 2243679"/>
              <a:gd name="connsiteY1" fmla="*/ 0 h 1199386"/>
              <a:gd name="connsiteX2" fmla="*/ 2243679 w 2243679"/>
              <a:gd name="connsiteY2" fmla="*/ 6484 h 1199386"/>
              <a:gd name="connsiteX3" fmla="*/ 1791617 w 2243679"/>
              <a:gd name="connsiteY3" fmla="*/ 1199386 h 1199386"/>
              <a:gd name="connsiteX4" fmla="*/ 501283 w 2243679"/>
              <a:gd name="connsiteY4" fmla="*/ 1173446 h 11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679" h="1199386">
                <a:moveTo>
                  <a:pt x="501283" y="1173446"/>
                </a:moveTo>
                <a:lnTo>
                  <a:pt x="0" y="0"/>
                </a:lnTo>
                <a:lnTo>
                  <a:pt x="2243679" y="6484"/>
                </a:lnTo>
                <a:cubicBezTo>
                  <a:pt x="1787903" y="1160715"/>
                  <a:pt x="1924051" y="784459"/>
                  <a:pt x="1791617" y="1199386"/>
                </a:cubicBezTo>
                <a:lnTo>
                  <a:pt x="501283" y="1173446"/>
                </a:lnTo>
                <a:close/>
              </a:path>
            </a:pathLst>
          </a:custGeom>
          <a:solidFill>
            <a:schemeClr val="bg1">
              <a:lumMod val="85000"/>
              <a:alpha val="24095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399242" y="2493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7793728" y="538567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930122" y="5227893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623F49CC-AF12-0241-8A63-455E05CA2757}"/>
              </a:ext>
            </a:extLst>
          </p:cNvPr>
          <p:cNvGrpSpPr/>
          <p:nvPr/>
        </p:nvGrpSpPr>
        <p:grpSpPr>
          <a:xfrm>
            <a:off x="5467796" y="1396912"/>
            <a:ext cx="288497" cy="329375"/>
            <a:chOff x="3732405" y="2367361"/>
            <a:chExt cx="288497" cy="329375"/>
          </a:xfrm>
        </p:grpSpPr>
        <p:sp>
          <p:nvSpPr>
            <p:cNvPr id="287" name="Rectangle">
              <a:extLst>
                <a:ext uri="{FF2B5EF4-FFF2-40B4-BE49-F238E27FC236}">
                  <a16:creationId xmlns:a16="http://schemas.microsoft.com/office/drawing/2014/main" id="{9EA05550-4335-7343-B8BE-57DAA3791DE9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8" name="Rectangle">
              <a:extLst>
                <a:ext uri="{FF2B5EF4-FFF2-40B4-BE49-F238E27FC236}">
                  <a16:creationId xmlns:a16="http://schemas.microsoft.com/office/drawing/2014/main" id="{5B972730-E6E9-2B45-B261-F6245A814189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9" name="Rectangle">
              <a:extLst>
                <a:ext uri="{FF2B5EF4-FFF2-40B4-BE49-F238E27FC236}">
                  <a16:creationId xmlns:a16="http://schemas.microsoft.com/office/drawing/2014/main" id="{80E318F2-6CBC-4142-A2DA-9BE0EF84F81A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35DE7D94-D6CB-414D-9C9F-0961D6C356E3}"/>
              </a:ext>
            </a:extLst>
          </p:cNvPr>
          <p:cNvGrpSpPr/>
          <p:nvPr/>
        </p:nvGrpSpPr>
        <p:grpSpPr>
          <a:xfrm>
            <a:off x="6510865" y="1385121"/>
            <a:ext cx="288496" cy="352957"/>
            <a:chOff x="3732405" y="3352009"/>
            <a:chExt cx="288496" cy="352957"/>
          </a:xfrm>
        </p:grpSpPr>
        <p:sp>
          <p:nvSpPr>
            <p:cNvPr id="285" name="Cylinder">
              <a:extLst>
                <a:ext uri="{FF2B5EF4-FFF2-40B4-BE49-F238E27FC236}">
                  <a16:creationId xmlns:a16="http://schemas.microsoft.com/office/drawing/2014/main" id="{7BE3315F-9213-DC48-8FF2-84D3E8A8579E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6" name="Cylinder">
              <a:extLst>
                <a:ext uri="{FF2B5EF4-FFF2-40B4-BE49-F238E27FC236}">
                  <a16:creationId xmlns:a16="http://schemas.microsoft.com/office/drawing/2014/main" id="{4C07361E-ECD7-704D-9231-9FFC9B28B258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255" name="Gruppieren 12">
            <a:extLst>
              <a:ext uri="{FF2B5EF4-FFF2-40B4-BE49-F238E27FC236}">
                <a16:creationId xmlns:a16="http://schemas.microsoft.com/office/drawing/2014/main" id="{158787D4-34EC-4A41-891C-44C62327A100}"/>
              </a:ext>
            </a:extLst>
          </p:cNvPr>
          <p:cNvGrpSpPr/>
          <p:nvPr/>
        </p:nvGrpSpPr>
        <p:grpSpPr>
          <a:xfrm>
            <a:off x="5997805" y="1848934"/>
            <a:ext cx="324000" cy="324000"/>
            <a:chOff x="2495600" y="4725144"/>
            <a:chExt cx="324000" cy="324000"/>
          </a:xfrm>
        </p:grpSpPr>
        <p:sp>
          <p:nvSpPr>
            <p:cNvPr id="283" name="World">
              <a:extLst>
                <a:ext uri="{FF2B5EF4-FFF2-40B4-BE49-F238E27FC236}">
                  <a16:creationId xmlns:a16="http://schemas.microsoft.com/office/drawing/2014/main" id="{1CD67CEC-9C76-714B-84C3-69D668E1C247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4" name="World">
              <a:extLst>
                <a:ext uri="{FF2B5EF4-FFF2-40B4-BE49-F238E27FC236}">
                  <a16:creationId xmlns:a16="http://schemas.microsoft.com/office/drawing/2014/main" id="{2FB19D57-ECC6-3642-9B5D-D4C3C1AF2091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D92998DD-BEFF-C34D-85AD-4E74BA1B6593}"/>
              </a:ext>
            </a:extLst>
          </p:cNvPr>
          <p:cNvGrpSpPr/>
          <p:nvPr/>
        </p:nvGrpSpPr>
        <p:grpSpPr>
          <a:xfrm>
            <a:off x="5919714" y="1370709"/>
            <a:ext cx="428547" cy="381780"/>
            <a:chOff x="1203157" y="5351220"/>
            <a:chExt cx="428547" cy="381780"/>
          </a:xfrm>
        </p:grpSpPr>
        <p:grpSp>
          <p:nvGrpSpPr>
            <p:cNvPr id="257" name="Gruppieren 98">
              <a:extLst>
                <a:ext uri="{FF2B5EF4-FFF2-40B4-BE49-F238E27FC236}">
                  <a16:creationId xmlns:a16="http://schemas.microsoft.com/office/drawing/2014/main" id="{E4729EA5-A839-0143-868E-744E2A3E7C21}"/>
                </a:ext>
              </a:extLst>
            </p:cNvPr>
            <p:cNvGrpSpPr/>
            <p:nvPr/>
          </p:nvGrpSpPr>
          <p:grpSpPr>
            <a:xfrm>
              <a:off x="1203157" y="5351220"/>
              <a:ext cx="287704" cy="288000"/>
              <a:chOff x="3360000" y="3069000"/>
              <a:chExt cx="287704" cy="288000"/>
            </a:xfrm>
          </p:grpSpPr>
          <p:sp>
            <p:nvSpPr>
              <p:cNvPr id="271" name="Rechteck: abgerundete Ecken 99">
                <a:extLst>
                  <a:ext uri="{FF2B5EF4-FFF2-40B4-BE49-F238E27FC236}">
                    <a16:creationId xmlns:a16="http://schemas.microsoft.com/office/drawing/2014/main" id="{67BA93D9-7F3C-6C4A-8F50-7F1F82630E09}"/>
                  </a:ext>
                </a:extLst>
              </p:cNvPr>
              <p:cNvSpPr/>
              <p:nvPr/>
            </p:nvSpPr>
            <p:spPr>
              <a:xfrm>
                <a:off x="3431704" y="3104964"/>
                <a:ext cx="216000" cy="216000"/>
              </a:xfrm>
              <a:prstGeom prst="roundRect">
                <a:avLst>
                  <a:gd name="adj" fmla="val 11155"/>
                </a:avLst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72" name="Gerader Verbinder 100">
                <a:extLst>
                  <a:ext uri="{FF2B5EF4-FFF2-40B4-BE49-F238E27FC236}">
                    <a16:creationId xmlns:a16="http://schemas.microsoft.com/office/drawing/2014/main" id="{8299CC8E-1B8E-5F48-846A-65C795521B4C}"/>
                  </a:ext>
                </a:extLst>
              </p:cNvPr>
              <p:cNvCxnSpPr/>
              <p:nvPr/>
            </p:nvCxnSpPr>
            <p:spPr>
              <a:xfrm>
                <a:off x="3530192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Gerader Verbinder 101">
                <a:extLst>
                  <a:ext uri="{FF2B5EF4-FFF2-40B4-BE49-F238E27FC236}">
                    <a16:creationId xmlns:a16="http://schemas.microsoft.com/office/drawing/2014/main" id="{CA5F1D67-1AD3-8644-84A1-8990B8190798}"/>
                  </a:ext>
                </a:extLst>
              </p:cNvPr>
              <p:cNvCxnSpPr/>
              <p:nvPr/>
            </p:nvCxnSpPr>
            <p:spPr>
              <a:xfrm>
                <a:off x="3585244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Gerader Verbinder 102">
                <a:extLst>
                  <a:ext uri="{FF2B5EF4-FFF2-40B4-BE49-F238E27FC236}">
                    <a16:creationId xmlns:a16="http://schemas.microsoft.com/office/drawing/2014/main" id="{255D4235-6803-704B-BE01-463C21DD2474}"/>
                  </a:ext>
                </a:extLst>
              </p:cNvPr>
              <p:cNvCxnSpPr/>
              <p:nvPr/>
            </p:nvCxnSpPr>
            <p:spPr>
              <a:xfrm>
                <a:off x="3530192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Gerader Verbinder 103">
                <a:extLst>
                  <a:ext uri="{FF2B5EF4-FFF2-40B4-BE49-F238E27FC236}">
                    <a16:creationId xmlns:a16="http://schemas.microsoft.com/office/drawing/2014/main" id="{6A7EBE7E-9FCB-274B-BBE2-49B27B275E3A}"/>
                  </a:ext>
                </a:extLst>
              </p:cNvPr>
              <p:cNvCxnSpPr/>
              <p:nvPr/>
            </p:nvCxnSpPr>
            <p:spPr>
              <a:xfrm>
                <a:off x="3585244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Gerader Verbinder 104">
                <a:extLst>
                  <a:ext uri="{FF2B5EF4-FFF2-40B4-BE49-F238E27FC236}">
                    <a16:creationId xmlns:a16="http://schemas.microsoft.com/office/drawing/2014/main" id="{93DD909D-EFB9-3C45-ACE2-62FE9965EC1C}"/>
                  </a:ext>
                </a:extLst>
              </p:cNvPr>
              <p:cNvCxnSpPr/>
              <p:nvPr/>
            </p:nvCxnSpPr>
            <p:spPr>
              <a:xfrm>
                <a:off x="3530192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Gerader Verbinder 105">
                <a:extLst>
                  <a:ext uri="{FF2B5EF4-FFF2-40B4-BE49-F238E27FC236}">
                    <a16:creationId xmlns:a16="http://schemas.microsoft.com/office/drawing/2014/main" id="{CCCCDC87-BFD0-BC4D-B294-09B1FC2FCB96}"/>
                  </a:ext>
                </a:extLst>
              </p:cNvPr>
              <p:cNvCxnSpPr/>
              <p:nvPr/>
            </p:nvCxnSpPr>
            <p:spPr>
              <a:xfrm>
                <a:off x="3585244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Gerader Verbinder 106">
                <a:extLst>
                  <a:ext uri="{FF2B5EF4-FFF2-40B4-BE49-F238E27FC236}">
                    <a16:creationId xmlns:a16="http://schemas.microsoft.com/office/drawing/2014/main" id="{CE5A89FB-CE9F-134D-8CAA-3A4FEB70BB58}"/>
                  </a:ext>
                </a:extLst>
              </p:cNvPr>
              <p:cNvCxnSpPr/>
              <p:nvPr/>
            </p:nvCxnSpPr>
            <p:spPr>
              <a:xfrm>
                <a:off x="3530192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r Verbinder 107">
                <a:extLst>
                  <a:ext uri="{FF2B5EF4-FFF2-40B4-BE49-F238E27FC236}">
                    <a16:creationId xmlns:a16="http://schemas.microsoft.com/office/drawing/2014/main" id="{EE14B113-508D-A541-9B5D-A662B061AB50}"/>
                  </a:ext>
                </a:extLst>
              </p:cNvPr>
              <p:cNvCxnSpPr/>
              <p:nvPr/>
            </p:nvCxnSpPr>
            <p:spPr>
              <a:xfrm>
                <a:off x="3585244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r Verbinder 108">
                <a:extLst>
                  <a:ext uri="{FF2B5EF4-FFF2-40B4-BE49-F238E27FC236}">
                    <a16:creationId xmlns:a16="http://schemas.microsoft.com/office/drawing/2014/main" id="{28B046F3-1EF5-D44B-AEC9-A6AB910F34BC}"/>
                  </a:ext>
                </a:extLst>
              </p:cNvPr>
              <p:cNvCxnSpPr/>
              <p:nvPr/>
            </p:nvCxnSpPr>
            <p:spPr>
              <a:xfrm>
                <a:off x="3530192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Gerader Verbinder 109">
                <a:extLst>
                  <a:ext uri="{FF2B5EF4-FFF2-40B4-BE49-F238E27FC236}">
                    <a16:creationId xmlns:a16="http://schemas.microsoft.com/office/drawing/2014/main" id="{3F43BD8A-FF1B-D247-A64D-E2EE34F140CA}"/>
                  </a:ext>
                </a:extLst>
              </p:cNvPr>
              <p:cNvCxnSpPr/>
              <p:nvPr/>
            </p:nvCxnSpPr>
            <p:spPr>
              <a:xfrm>
                <a:off x="3585244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2" name="Trapezoid 281">
                <a:extLst>
                  <a:ext uri="{FF2B5EF4-FFF2-40B4-BE49-F238E27FC236}">
                    <a16:creationId xmlns:a16="http://schemas.microsoft.com/office/drawing/2014/main" id="{BD6AA74D-3E73-2940-80E7-DF383A0A2722}"/>
                  </a:ext>
                </a:extLst>
              </p:cNvPr>
              <p:cNvSpPr/>
              <p:nvPr/>
            </p:nvSpPr>
            <p:spPr>
              <a:xfrm rot="16200000" flipH="1">
                <a:off x="3306000" y="3123000"/>
                <a:ext cx="288000" cy="180000"/>
              </a:xfrm>
              <a:prstGeom prst="trapezoid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vert="vert" wrap="square" lIns="36000" tIns="36000" rIns="36000" bIns="36000" numCol="1" anchor="ctr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rgbClr val="A6A6A6"/>
                    </a:solidFill>
                  </a:rPr>
                  <a:t>X</a:t>
                </a:r>
                <a:endParaRPr lang="en-US" b="1">
                  <a:solidFill>
                    <a:srgbClr val="A6A6A6"/>
                  </a:solidFill>
                </a:endParaRPr>
              </a:p>
            </p:txBody>
          </p:sp>
        </p:grpSp>
        <p:grpSp>
          <p:nvGrpSpPr>
            <p:cNvPr id="258" name="Gruppieren 98">
              <a:extLst>
                <a:ext uri="{FF2B5EF4-FFF2-40B4-BE49-F238E27FC236}">
                  <a16:creationId xmlns:a16="http://schemas.microsoft.com/office/drawing/2014/main" id="{0E09EC5D-2B0D-3D40-9A8E-177241B7CF60}"/>
                </a:ext>
              </a:extLst>
            </p:cNvPr>
            <p:cNvGrpSpPr/>
            <p:nvPr/>
          </p:nvGrpSpPr>
          <p:grpSpPr>
            <a:xfrm>
              <a:off x="1344000" y="5445000"/>
              <a:ext cx="287704" cy="288000"/>
              <a:chOff x="3360000" y="3069000"/>
              <a:chExt cx="287704" cy="288000"/>
            </a:xfrm>
          </p:grpSpPr>
          <p:sp>
            <p:nvSpPr>
              <p:cNvPr id="259" name="Rechteck: abgerundete Ecken 99">
                <a:extLst>
                  <a:ext uri="{FF2B5EF4-FFF2-40B4-BE49-F238E27FC236}">
                    <a16:creationId xmlns:a16="http://schemas.microsoft.com/office/drawing/2014/main" id="{72F5B951-7A11-F541-B0E9-5B56B1EFA417}"/>
                  </a:ext>
                </a:extLst>
              </p:cNvPr>
              <p:cNvSpPr/>
              <p:nvPr/>
            </p:nvSpPr>
            <p:spPr>
              <a:xfrm>
                <a:off x="3431704" y="3104964"/>
                <a:ext cx="216000" cy="216000"/>
              </a:xfrm>
              <a:prstGeom prst="roundRect">
                <a:avLst>
                  <a:gd name="adj" fmla="val 11155"/>
                </a:avLst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60" name="Gerader Verbinder 100">
                <a:extLst>
                  <a:ext uri="{FF2B5EF4-FFF2-40B4-BE49-F238E27FC236}">
                    <a16:creationId xmlns:a16="http://schemas.microsoft.com/office/drawing/2014/main" id="{1CBD3C89-A1E0-EC45-BA25-6FADA5DB50B6}"/>
                  </a:ext>
                </a:extLst>
              </p:cNvPr>
              <p:cNvCxnSpPr/>
              <p:nvPr/>
            </p:nvCxnSpPr>
            <p:spPr>
              <a:xfrm>
                <a:off x="3530192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Gerader Verbinder 101">
                <a:extLst>
                  <a:ext uri="{FF2B5EF4-FFF2-40B4-BE49-F238E27FC236}">
                    <a16:creationId xmlns:a16="http://schemas.microsoft.com/office/drawing/2014/main" id="{D9EBFAE6-97D1-414A-9A89-E87A38F11495}"/>
                  </a:ext>
                </a:extLst>
              </p:cNvPr>
              <p:cNvCxnSpPr/>
              <p:nvPr/>
            </p:nvCxnSpPr>
            <p:spPr>
              <a:xfrm>
                <a:off x="3585244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Gerader Verbinder 102">
                <a:extLst>
                  <a:ext uri="{FF2B5EF4-FFF2-40B4-BE49-F238E27FC236}">
                    <a16:creationId xmlns:a16="http://schemas.microsoft.com/office/drawing/2014/main" id="{4BC3FE7D-316A-584E-A3B4-CDEECE073D43}"/>
                  </a:ext>
                </a:extLst>
              </p:cNvPr>
              <p:cNvCxnSpPr/>
              <p:nvPr/>
            </p:nvCxnSpPr>
            <p:spPr>
              <a:xfrm>
                <a:off x="3530192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Gerader Verbinder 103">
                <a:extLst>
                  <a:ext uri="{FF2B5EF4-FFF2-40B4-BE49-F238E27FC236}">
                    <a16:creationId xmlns:a16="http://schemas.microsoft.com/office/drawing/2014/main" id="{D764D423-4B5B-544D-8E4C-61E22FCF7419}"/>
                  </a:ext>
                </a:extLst>
              </p:cNvPr>
              <p:cNvCxnSpPr/>
              <p:nvPr/>
            </p:nvCxnSpPr>
            <p:spPr>
              <a:xfrm>
                <a:off x="3585244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Gerader Verbinder 104">
                <a:extLst>
                  <a:ext uri="{FF2B5EF4-FFF2-40B4-BE49-F238E27FC236}">
                    <a16:creationId xmlns:a16="http://schemas.microsoft.com/office/drawing/2014/main" id="{7FDA7D68-424C-FB4B-ACA1-F2CCADC9BB9F}"/>
                  </a:ext>
                </a:extLst>
              </p:cNvPr>
              <p:cNvCxnSpPr/>
              <p:nvPr/>
            </p:nvCxnSpPr>
            <p:spPr>
              <a:xfrm>
                <a:off x="3530192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r Verbinder 105">
                <a:extLst>
                  <a:ext uri="{FF2B5EF4-FFF2-40B4-BE49-F238E27FC236}">
                    <a16:creationId xmlns:a16="http://schemas.microsoft.com/office/drawing/2014/main" id="{04B434EB-6E1C-C24A-B16D-67544E66162A}"/>
                  </a:ext>
                </a:extLst>
              </p:cNvPr>
              <p:cNvCxnSpPr/>
              <p:nvPr/>
            </p:nvCxnSpPr>
            <p:spPr>
              <a:xfrm>
                <a:off x="3585244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r Verbinder 106">
                <a:extLst>
                  <a:ext uri="{FF2B5EF4-FFF2-40B4-BE49-F238E27FC236}">
                    <a16:creationId xmlns:a16="http://schemas.microsoft.com/office/drawing/2014/main" id="{AB339D1E-3C14-FC40-97C2-3BCDE8305559}"/>
                  </a:ext>
                </a:extLst>
              </p:cNvPr>
              <p:cNvCxnSpPr/>
              <p:nvPr/>
            </p:nvCxnSpPr>
            <p:spPr>
              <a:xfrm>
                <a:off x="3530192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Gerader Verbinder 107">
                <a:extLst>
                  <a:ext uri="{FF2B5EF4-FFF2-40B4-BE49-F238E27FC236}">
                    <a16:creationId xmlns:a16="http://schemas.microsoft.com/office/drawing/2014/main" id="{0FEBF8D0-1CE1-0049-BA37-B718E865AEF1}"/>
                  </a:ext>
                </a:extLst>
              </p:cNvPr>
              <p:cNvCxnSpPr/>
              <p:nvPr/>
            </p:nvCxnSpPr>
            <p:spPr>
              <a:xfrm>
                <a:off x="3585244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r Verbinder 108">
                <a:extLst>
                  <a:ext uri="{FF2B5EF4-FFF2-40B4-BE49-F238E27FC236}">
                    <a16:creationId xmlns:a16="http://schemas.microsoft.com/office/drawing/2014/main" id="{929CA0BD-9A41-FF46-9822-D1470922682B}"/>
                  </a:ext>
                </a:extLst>
              </p:cNvPr>
              <p:cNvCxnSpPr/>
              <p:nvPr/>
            </p:nvCxnSpPr>
            <p:spPr>
              <a:xfrm>
                <a:off x="3530192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r Verbinder 109">
                <a:extLst>
                  <a:ext uri="{FF2B5EF4-FFF2-40B4-BE49-F238E27FC236}">
                    <a16:creationId xmlns:a16="http://schemas.microsoft.com/office/drawing/2014/main" id="{14CFE970-CF07-3546-9CFD-6006D878A924}"/>
                  </a:ext>
                </a:extLst>
              </p:cNvPr>
              <p:cNvCxnSpPr/>
              <p:nvPr/>
            </p:nvCxnSpPr>
            <p:spPr>
              <a:xfrm>
                <a:off x="3585244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0" name="Trapezoid 269">
                <a:extLst>
                  <a:ext uri="{FF2B5EF4-FFF2-40B4-BE49-F238E27FC236}">
                    <a16:creationId xmlns:a16="http://schemas.microsoft.com/office/drawing/2014/main" id="{FA27FC88-DC01-2A46-BB74-FB1F8B6E8661}"/>
                  </a:ext>
                </a:extLst>
              </p:cNvPr>
              <p:cNvSpPr/>
              <p:nvPr/>
            </p:nvSpPr>
            <p:spPr>
              <a:xfrm rot="16200000" flipH="1">
                <a:off x="3306000" y="3123000"/>
                <a:ext cx="288000" cy="180000"/>
              </a:xfrm>
              <a:prstGeom prst="trapezoid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vert="vert" wrap="square" lIns="36000" tIns="36000" rIns="36000" bIns="36000" numCol="1" anchor="ctr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rgbClr val="A6A6A6"/>
                    </a:solidFill>
                  </a:rPr>
                  <a:t>X</a:t>
                </a:r>
                <a:endParaRPr lang="en-US" b="1" dirty="0">
                  <a:solidFill>
                    <a:srgbClr val="A6A6A6"/>
                  </a:solidFill>
                </a:endParaRPr>
              </a:p>
            </p:txBody>
          </p: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399242" y="2493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2051178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7172683" y="5490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</p:spTree>
    <p:extLst>
      <p:ext uri="{BB962C8B-B14F-4D97-AF65-F5344CB8AC3E}">
        <p14:creationId xmlns:p14="http://schemas.microsoft.com/office/powerpoint/2010/main" val="5804017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</p:spTree>
    <p:extLst>
      <p:ext uri="{BB962C8B-B14F-4D97-AF65-F5344CB8AC3E}">
        <p14:creationId xmlns:p14="http://schemas.microsoft.com/office/powerpoint/2010/main" val="2248922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980</TotalTime>
  <Words>8037</Words>
  <Application>Microsoft Macintosh PowerPoint</Application>
  <PresentationFormat>Widescreen</PresentationFormat>
  <Paragraphs>1290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Overview  The B4P Data Integration and Analytics Engine</vt:lpstr>
      <vt:lpstr>Overview  The B4P Data Integration and Analytics Engine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91</cp:revision>
  <cp:lastPrinted>2012-05-04T14:30:29Z</cp:lastPrinted>
  <dcterms:created xsi:type="dcterms:W3CDTF">2016-02-06T20:40:56Z</dcterms:created>
  <dcterms:modified xsi:type="dcterms:W3CDTF">2021-05-26T16:08:17Z</dcterms:modified>
</cp:coreProperties>
</file>